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1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0B-4970-8914-088B67661D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0B-4970-8914-088B67661D9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0B-4970-8914-088B67661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43437680"/>
        <c:axId val="1443438640"/>
      </c:barChart>
      <c:catAx>
        <c:axId val="144343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8640"/>
        <c:crosses val="autoZero"/>
        <c:auto val="1"/>
        <c:lblAlgn val="ctr"/>
        <c:lblOffset val="100"/>
        <c:noMultiLvlLbl val="0"/>
      </c:catAx>
      <c:valAx>
        <c:axId val="1443438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7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847434460265651"/>
          <c:y val="1.3220266182657398E-2"/>
          <c:w val="0.23138301639536535"/>
          <c:h val="5.49366678986821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1A9BC8-4108-DB5B-CC13-87E33CF21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F718F2-4904-8BDA-12AD-D3AF80C151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F718F2-4904-8BDA-12AD-D3AF80C15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Placeholder 16">
            <a:extLst>
              <a:ext uri="{FF2B5EF4-FFF2-40B4-BE49-F238E27FC236}">
                <a16:creationId xmlns:a16="http://schemas.microsoft.com/office/drawing/2014/main" id="{BC7018FE-29DF-2DB0-D1AB-8A801658B17D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9473EEFD-2544-4902-676E-25825D698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Column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9763536-CCD0-E659-3D47-B0760BD8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AE94660C-1826-6FBD-8102-82A81120B2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FD1B64E-410A-3C62-6AB9-402AB31600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4683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9</TotalTime>
  <Words>15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Column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48</cp:revision>
  <dcterms:created xsi:type="dcterms:W3CDTF">2025-07-09T10:57:17Z</dcterms:created>
  <dcterms:modified xsi:type="dcterms:W3CDTF">2025-10-22T09:43:05Z</dcterms:modified>
  <cp:category/>
</cp:coreProperties>
</file>